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7" r:id="rId5"/>
    <p:sldMasterId id="2147483690" r:id="rId6"/>
  </p:sldMasterIdLst>
  <p:notesMasterIdLst>
    <p:notesMasterId r:id="rId15"/>
  </p:notesMasterIdLst>
  <p:handoutMasterIdLst>
    <p:handoutMasterId r:id="rId16"/>
  </p:handoutMasterIdLst>
  <p:sldIdLst>
    <p:sldId id="256" r:id="rId7"/>
    <p:sldId id="260" r:id="rId8"/>
    <p:sldId id="261" r:id="rId9"/>
    <p:sldId id="264" r:id="rId10"/>
    <p:sldId id="265" r:id="rId11"/>
    <p:sldId id="266" r:id="rId12"/>
    <p:sldId id="270" r:id="rId13"/>
    <p:sldId id="269" r:id="rId1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06600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1236" y="-1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9" d="100"/>
          <a:sy n="89" d="100"/>
        </p:scale>
        <p:origin x="-3126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B57F59-EA4B-481C-8CAD-A3594650AB31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4BC378-CD28-4A9F-A116-873887AAF80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9597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8259D5-8B55-4FAD-ACA1-5B2C3EC5ACF6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4C3A27-6B36-4B84-9D11-E6473B4A342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2866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29/04/2013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C3A27-6B36-4B84-9D11-E6473B4A342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3064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7703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DC5508-8451-485B-A39E-0CCA81412775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155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BD161F-4031-4EBD-AA48-01ADEFEC60F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535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B2DCF1-6B72-48CF-90B4-78C8AEA154B9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386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393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0341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4099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1696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28081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5353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29006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369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3011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71133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97141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77209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39505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08048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7368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7742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C32874-BA58-4059-9FA9-F661A69B61AF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9076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A9F30DF-C569-4111-86DE-159B20EE983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737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B36AA4E-BBB7-4C73-A4A4-12AB7C1A4201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648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6D401C7-445D-4F26-B0D0-F9693DCB8CE3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288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383194-92EE-4484-A7AB-A06E91293D66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22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Front Template.jpg"/>
          <p:cNvPicPr>
            <a:picLocks noChangeAspect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0811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BetClic Everest Template.jpg"/>
          <p:cNvPicPr>
            <a:picLocks noChangeAspect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0" y="0"/>
            <a:ext cx="9144000" cy="1340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85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2060848"/>
            <a:ext cx="8229600" cy="406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ea typeface="ＭＳ Ｐゴシック" pitchFamily="-65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fr-FR">
              <a:ea typeface="ＭＳ Ｐゴシック" pitchFamily="-65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AC9E2451-CB33-4F6A-B952-7BC24754B2E4}" type="slidenum">
              <a:rPr lang="en-US">
                <a:ea typeface="ＭＳ Ｐゴシック" pitchFamily="-65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203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2800" kern="1200">
          <a:solidFill>
            <a:srgbClr val="500050"/>
          </a:solidFill>
          <a:latin typeface="+mj-lt"/>
          <a:ea typeface="ＭＳ Ｐゴシック" pitchFamily="-65" charset="-128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9pPr>
    </p:titleStyle>
    <p:bodyStyle>
      <a:lvl1pPr marL="342900" marR="0" indent="-3429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8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1pPr>
      <a:lvl2pPr marL="742950" marR="0" indent="-28575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2pPr>
      <a:lvl3pPr marL="11430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3pPr>
      <a:lvl4pPr marL="16002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4pPr>
      <a:lvl5pPr marL="20574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»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7EA0D3-7B0F-43CC-83D3-741EA48248DA}" type="datetimeFigureOut">
              <a:rPr lang="fr-FR" smtClean="0"/>
              <a:t>19/03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522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3568" y="2708920"/>
            <a:ext cx="7772400" cy="1470025"/>
          </a:xfrm>
        </p:spPr>
        <p:txBody>
          <a:bodyPr/>
          <a:lstStyle/>
          <a:p>
            <a:r>
              <a:rPr lang="fr-FR" b="1" dirty="0" smtClean="0"/>
              <a:t>Code Dojo – Session 3</a:t>
            </a:r>
            <a:endParaRPr lang="fr-FR" b="1" dirty="0"/>
          </a:p>
        </p:txBody>
      </p:sp>
      <p:sp>
        <p:nvSpPr>
          <p:cNvPr id="3" name="ZoneTexte 2"/>
          <p:cNvSpPr txBox="1"/>
          <p:nvPr/>
        </p:nvSpPr>
        <p:spPr>
          <a:xfrm>
            <a:off x="3275856" y="3593312"/>
            <a:ext cx="24675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b="1" dirty="0" smtClean="0">
                <a:solidFill>
                  <a:schemeClr val="bg2">
                    <a:lumMod val="75000"/>
                  </a:schemeClr>
                </a:solidFill>
              </a:rPr>
              <a:t>11/12/2013</a:t>
            </a:r>
            <a:endParaRPr lang="fr-FR" sz="3600" b="1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74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Code Dojo</a:t>
            </a:r>
            <a:br>
              <a:rPr lang="en-US" sz="3600" dirty="0" smtClean="0"/>
            </a:br>
            <a:r>
              <a:rPr lang="en-US" sz="2400" dirty="0" smtClean="0"/>
              <a:t>Some Principles</a:t>
            </a:r>
            <a:endParaRPr lang="en-US" sz="240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179512" y="2564903"/>
            <a:ext cx="8751924" cy="3888433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en-US" sz="2800" dirty="0" smtClean="0"/>
              <a:t>Communicate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with your partner, be a pair, with the group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Code is design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No design talk without code, no code without talking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Slow down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No due date, no delivery, no tricks</a:t>
            </a:r>
            <a:endParaRPr lang="en-US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Learning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Open-minded, from others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Challenge yourself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don’t be reluctant to try something new</a:t>
            </a:r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910320"/>
            <a:ext cx="1623132" cy="4615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5217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8229600" cy="4392488"/>
          </a:xfrm>
        </p:spPr>
        <p:txBody>
          <a:bodyPr/>
          <a:lstStyle/>
          <a:p>
            <a:r>
              <a:rPr lang="en-US" sz="2400" dirty="0" err="1" smtClean="0"/>
              <a:t>JetBrains</a:t>
            </a:r>
            <a:r>
              <a:rPr lang="en-US" sz="2400" dirty="0" smtClean="0"/>
              <a:t> </a:t>
            </a:r>
            <a:r>
              <a:rPr lang="en-US" sz="2400" dirty="0" err="1" smtClean="0"/>
              <a:t>Resharper</a:t>
            </a:r>
            <a:r>
              <a:rPr lang="en-US" sz="2400" dirty="0" smtClean="0"/>
              <a:t> (R#)</a:t>
            </a:r>
          </a:p>
          <a:p>
            <a:pPr lvl="1"/>
            <a:r>
              <a:rPr lang="en-US" sz="2000" dirty="0" smtClean="0"/>
              <a:t>Productivity tool</a:t>
            </a:r>
          </a:p>
          <a:p>
            <a:pPr lvl="1"/>
            <a:r>
              <a:rPr lang="en-US" sz="2000" dirty="0" smtClean="0"/>
              <a:t>Third hand of the developer</a:t>
            </a:r>
          </a:p>
          <a:p>
            <a:pPr lvl="1"/>
            <a:r>
              <a:rPr lang="en-US" sz="2000" dirty="0" smtClean="0"/>
              <a:t>Must have for safe refactoring</a:t>
            </a:r>
          </a:p>
          <a:p>
            <a:endParaRPr lang="en-US" sz="2000" dirty="0" smtClean="0"/>
          </a:p>
          <a:p>
            <a:r>
              <a:rPr lang="en-US" sz="2400" dirty="0" err="1" smtClean="0"/>
              <a:t>Ncrunch</a:t>
            </a:r>
            <a:endParaRPr lang="en-US" sz="2400" dirty="0" smtClean="0"/>
          </a:p>
          <a:p>
            <a:pPr lvl="1"/>
            <a:r>
              <a:rPr lang="en-US" sz="2000" dirty="0" smtClean="0"/>
              <a:t>Continuous testing tool</a:t>
            </a:r>
          </a:p>
          <a:p>
            <a:pPr lvl="1"/>
            <a:r>
              <a:rPr lang="en-US" sz="2000" dirty="0" smtClean="0"/>
              <a:t>Increase speed and feedback of unit testing</a:t>
            </a:r>
          </a:p>
          <a:p>
            <a:pPr lvl="1"/>
            <a:r>
              <a:rPr lang="en-US" sz="2000" dirty="0" smtClean="0"/>
              <a:t>TDD without knowing</a:t>
            </a:r>
          </a:p>
          <a:p>
            <a:endParaRPr lang="en-US" sz="2200" dirty="0" smtClean="0"/>
          </a:p>
          <a:p>
            <a:r>
              <a:rPr lang="en-US" sz="2200" dirty="0" err="1" smtClean="0"/>
              <a:t>nFluent</a:t>
            </a:r>
            <a:endParaRPr lang="en-US" sz="2200" dirty="0" smtClean="0"/>
          </a:p>
          <a:p>
            <a:pPr lvl="1"/>
            <a:r>
              <a:rPr lang="en-US" sz="2000" dirty="0" smtClean="0"/>
              <a:t>Better assertions</a:t>
            </a:r>
          </a:p>
          <a:p>
            <a:pPr lvl="1"/>
            <a:r>
              <a:rPr lang="en-US" sz="2000" dirty="0" smtClean="0"/>
              <a:t>Gorgeous error messages</a:t>
            </a:r>
            <a:endParaRPr lang="en-US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Some</a:t>
            </a:r>
            <a:r>
              <a:rPr lang="fr-FR" sz="3600" dirty="0" smtClean="0"/>
              <a:t> </a:t>
            </a:r>
            <a:r>
              <a:rPr lang="fr-FR" sz="3600" dirty="0" err="1" smtClean="0"/>
              <a:t>tools</a:t>
            </a:r>
            <a:r>
              <a:rPr lang="fr-FR" sz="3600" dirty="0" smtClean="0"/>
              <a:t/>
            </a:r>
            <a:br>
              <a:rPr lang="fr-FR" sz="3600" dirty="0" smtClean="0"/>
            </a:br>
            <a:r>
              <a:rPr lang="fr-FR" sz="1800" dirty="0"/>
              <a:t>(</a:t>
            </a:r>
            <a:r>
              <a:rPr lang="fr-FR" sz="1800" dirty="0" err="1"/>
              <a:t>optionals</a:t>
            </a:r>
            <a:r>
              <a:rPr lang="fr-FR" sz="1800" dirty="0"/>
              <a:t>)</a:t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6150" name="Picture 6" descr="http://www.google.fr/url?source=imglanding&amp;ct=img&amp;q=http://micheltriana.com/wp-content/uploads/2010/12/resharper-8x6.png&amp;sa=X&amp;ei=4prtUZn-GurG0QWL2YCADg&amp;ved=0CAwQ8wc&amp;usg=AFQjCNF3IC8l3Wf9KK_wIp5Gwl8t2TASs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607" y="1988840"/>
            <a:ext cx="2008066" cy="14401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ttp://www.ncrunch.net/Content/Home/N-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5572" y="3933056"/>
            <a:ext cx="1224136" cy="12241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5445224"/>
            <a:ext cx="28575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7482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51520" y="2171997"/>
            <a:ext cx="4392488" cy="3921299"/>
          </a:xfrm>
        </p:spPr>
        <p:txBody>
          <a:bodyPr/>
          <a:lstStyle/>
          <a:p>
            <a:endParaRPr lang="en-US" sz="2400" dirty="0" smtClean="0"/>
          </a:p>
          <a:p>
            <a:r>
              <a:rPr lang="en-US" sz="2400" dirty="0" smtClean="0"/>
              <a:t>Talk</a:t>
            </a:r>
          </a:p>
          <a:p>
            <a:r>
              <a:rPr lang="en-US" sz="2400" dirty="0" smtClean="0"/>
              <a:t>Baby steps</a:t>
            </a:r>
          </a:p>
          <a:p>
            <a:r>
              <a:rPr lang="en-US" sz="2400" dirty="0" smtClean="0"/>
              <a:t>Red Green Refactor</a:t>
            </a:r>
          </a:p>
          <a:p>
            <a:endParaRPr lang="en-US" sz="2400" dirty="0" smtClean="0"/>
          </a:p>
          <a:p>
            <a:endParaRPr lang="en-US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Some tips</a:t>
            </a:r>
            <a:br>
              <a:rPr lang="en-US" sz="3600" dirty="0" smtClean="0"/>
            </a:br>
            <a:r>
              <a:rPr lang="en-US" sz="1800" dirty="0" smtClean="0"/>
              <a:t/>
            </a:r>
            <a:br>
              <a:rPr lang="en-US" sz="1800" dirty="0" smtClean="0"/>
            </a:br>
            <a:endParaRPr lang="en-US" sz="1800" dirty="0"/>
          </a:p>
        </p:txBody>
      </p:sp>
      <p:pic>
        <p:nvPicPr>
          <p:cNvPr id="7170" name="Picture 2" descr="http://iseibpsychology2012.wikispaces.com/file/view/250px-Talk_face.svg.png/229312442/250px-Talk_face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4437112"/>
            <a:ext cx="1728192" cy="2073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://morethanpuppets.files.wordpress.com/2012/05/liste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645024"/>
            <a:ext cx="2952328" cy="307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contenu 1"/>
          <p:cNvSpPr txBox="1">
            <a:spLocks/>
          </p:cNvSpPr>
          <p:nvPr/>
        </p:nvSpPr>
        <p:spPr bwMode="auto">
          <a:xfrm>
            <a:off x="4067944" y="2141240"/>
            <a:ext cx="4968552" cy="39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marR="0" indent="-3429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marR="0" indent="-28575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»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 smtClean="0"/>
          </a:p>
          <a:p>
            <a:r>
              <a:rPr lang="en-US" sz="2400" dirty="0" smtClean="0"/>
              <a:t>Talk</a:t>
            </a:r>
          </a:p>
          <a:p>
            <a:r>
              <a:rPr lang="en-US" sz="2400" dirty="0" smtClean="0"/>
              <a:t>Switch pilot as much as possible</a:t>
            </a:r>
          </a:p>
          <a:p>
            <a:r>
              <a:rPr lang="en-US" sz="2400" dirty="0" smtClean="0"/>
              <a:t>(Listen)</a:t>
            </a:r>
          </a:p>
          <a:p>
            <a:endParaRPr lang="en-US" sz="2400" dirty="0" smtClean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01905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155575" y="1766120"/>
            <a:ext cx="8229600" cy="4464496"/>
          </a:xfrm>
        </p:spPr>
        <p:txBody>
          <a:bodyPr/>
          <a:lstStyle/>
          <a:p>
            <a:endParaRPr lang="en-US" dirty="0" smtClean="0"/>
          </a:p>
          <a:p>
            <a:r>
              <a:rPr lang="en-US" sz="24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Welcome to </a:t>
            </a:r>
            <a:r>
              <a:rPr lang="en-US" sz="2400" b="1" dirty="0" err="1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Betclic</a:t>
            </a:r>
            <a:r>
              <a:rPr lang="en-US" sz="24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 Poker TP Time!</a:t>
            </a:r>
          </a:p>
          <a:p>
            <a:endParaRPr lang="en-US" dirty="0" smtClean="0"/>
          </a:p>
          <a:p>
            <a:r>
              <a:rPr lang="en-US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Unfortunately Tony is not used to his new glasses</a:t>
            </a:r>
          </a:p>
          <a:p>
            <a:pPr marL="0" indent="0">
              <a:buNone/>
            </a:pPr>
            <a:r>
              <a:rPr lang="en-US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    and he cannot see the cards!!!</a:t>
            </a:r>
          </a:p>
          <a:p>
            <a:pPr marL="0" indent="0">
              <a:buNone/>
            </a:pPr>
            <a:endParaRPr lang="en-US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en-US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Help him to calculate the score of each hands</a:t>
            </a:r>
          </a:p>
          <a:p>
            <a:endParaRPr lang="en-US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en-US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t the end, help Tony to declare a winner!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0" y="1207122"/>
            <a:ext cx="5940152" cy="782960"/>
          </a:xfrm>
        </p:spPr>
        <p:txBody>
          <a:bodyPr/>
          <a:lstStyle/>
          <a:p>
            <a:r>
              <a:rPr lang="en-US" sz="3600" dirty="0" smtClean="0"/>
              <a:t>Kata 4 : Poker Score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1268760"/>
            <a:ext cx="2705100" cy="147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 descr="http://t3.gstatic.com/images?q=tbn:ANd9GcSApJPVdp2oY3IYqU_4Cq4LO2V9om8EGRhy18_NmGPyrhtkvD2Y2R-dBU19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47" r="21719"/>
          <a:stretch/>
        </p:blipFill>
        <p:spPr bwMode="auto">
          <a:xfrm>
            <a:off x="6871692" y="3717032"/>
            <a:ext cx="2133600" cy="1929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Connecteur droit avec flèche 10"/>
          <p:cNvCxnSpPr/>
          <p:nvPr/>
        </p:nvCxnSpPr>
        <p:spPr>
          <a:xfrm flipH="1" flipV="1">
            <a:off x="5796136" y="3212976"/>
            <a:ext cx="1512168" cy="864096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3081" name="Picture 9" descr="http://panhandlepedalers.com/Poker/gaming_poker_cards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736" y="5110584"/>
            <a:ext cx="2044758" cy="1695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4496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57200" y="980728"/>
            <a:ext cx="8229600" cy="782960"/>
          </a:xfrm>
        </p:spPr>
        <p:txBody>
          <a:bodyPr/>
          <a:lstStyle/>
          <a:p>
            <a:r>
              <a:rPr lang="en-US" sz="3600" dirty="0" smtClean="0"/>
              <a:t>Kata 4 : Poker Score</a:t>
            </a:r>
            <a:br>
              <a:rPr lang="en-US" sz="3600" dirty="0" smtClean="0"/>
            </a:br>
            <a:r>
              <a:rPr lang="en-US" sz="2400" dirty="0" smtClean="0"/>
              <a:t>Rules</a:t>
            </a:r>
            <a:endParaRPr lang="en-US" sz="2400" dirty="0"/>
          </a:p>
        </p:txBody>
      </p:sp>
      <p:sp>
        <p:nvSpPr>
          <p:cNvPr id="5" name="AutoShape 2" descr="data:image/jpeg;base64,/9j/4AAQSkZJRgABAQAAAQABAAD/2wCEAAkGBhAQEBUUExITEhUTFBUXFhUVFRUSGRgWGBgaFhkXFhUYHCYeGBwjGRgVHzAgIycpLCwsFR4xNTAqNSYrLCkBCQoKDgwOGg8PGi4kHyUtNiopLiwtLCw1Ki41LCwsLzQ0LCwsLC8sLDUsLC4tLy8tLCwsLC0sLCwsLCwpLCwsKv/AABEIAL4BCgMBIgACEQEDEQH/xAAcAAEAAwADAQEAAAAAAAAAAAAABQYHAwQIAQL/xABHEAABAwIDBAUGDAQFBAMAAAABAAIDBBEFEiEGBzFREyJBYXEUMlSBkZIWF0JScnOTobLB0dI0YoKxFSQzovAjo7PjJkNk/8QAGwEBAAIDAQEAAAAAAAAAAAAAAAEEAgMFBgf/xAA3EQACAQIDBQUGBgEFAAAAAAAAAQIDEQQSIRMxQVGRBVJhcYEVIjOxwdEUMlOh4fCSBiNCQ3L/2gAMAwEAAhEDEQA/ANxREQBERAEREAREQBFD4ttfQ0jsk1Qxjvm6vcPFrQSPWo/4zMK9JH2cv7FsVGo1dRfQwdSC0bRaEVX+MzCvSR9nL+xPjMwr0kfZy/sWWwq919GRtYd5dS0Iqv8AGZhXpI+zl/YnxmYV6SPs5f2JsKvdfRjaw7y6loRVf4zMK9JH2cv7E+MzCvSR9nL+xNhV7r6MbWHeXUtCKr/GZhXpI+zl/Yu1hm3FBUyiKGbpHuvZojl4DUkktsB3lQ6NRK7i+gVSD0TXUnkRcNZWMhjdI8kNYLuIDnWA4mzQStRtSbdkcyKs/GRhfpI9yX9ifGRhfpI9yX9i17Wn3l1Lns/F/pS/xf2LMirPxkYX6SPcl/YnxkYX6SPcl/Ym1p95dR7Pxf6Uv8X9izIoPD9t8PneGR1LC48AczL9wzgXPcFOLKMlLcyvUo1KTtUi0/FW+YREWRqCIiAIiIAiIgCIiAIiIAiIgCrG8TaR1DRF0ZtJI4RxnjlJBJdbuaDbvsrOs232n/L0/wBc78BVjDQU6sUzTXk4020ZG95cSSSSSSSTckniSTxK+ItH2Ep8GdQPNUYelzPz9IQHhvyei1vw+brdeiq1NlG9r+RxqcNo7XsZwi+utfTh2X5d6+Laawi7dJhE80ckkcbnshAdIR8kG+pHEjQk2vYC5sF1FCaYswiIpIC2rdFgUcVH5RoZJybn5rGuLQzu1BcfEcgsVXoDdzh8cGHxNZIyQuu97mODhnf1i24+aLD1LndoytStzZdwSvO5ZkIRFwTrnn/bvDGU+ITRsAazM1zQNAA9ofYDsAJI9SgFqeI7Q4PijXipvTSx5g2S3WygmxDgOsLfIcOJ05rL5mtDiGkuaCbEjKSL6Ei5tcdl1wK8EpXi00z6v2ZiKlSkqdWLjKKSd1v8U9zPwiItB1Qtm3V7TSVMD4pXFz4MtnHUljr2ue0ggi/IhYytD3MH/Mz/AFTfxq1hJNVUuZwe36EKmCnJrWOq6o1xERdw+YhERAEREAREQBERAEREAREQBZtvt/h6f6134CtJWbb7f4en+td+Aq1g/jRK+J+EzIkRF6U4gQC6L6wgEXFxfUcxyQG/7A7LvoKTo5HBzpHGRwA0aXNa0sv8q2Xj2rFdrcNFNXVETQA1krsoHY13WaPUCB6l6GjqhLCJIXNcHszRnsNxdp8OC80VjpDI8y5ukLnZ83nZ79bN33uuRgHKdScpM6OLUYwjFHEiIuuc0LSt1G1dPTRTR1EzIhna9gdcXuLOseHyW6d6zVFqrUlVhlZtpVHTlmR6YwvG6aqBMEzJQ02ORwNvEcQu8sQ3T4bUurmyx5mxMa7pHkHK5p06MHgTmse7LfsW3rzuJoqjPKnc7NCo6kczVjNsQ3NsfM90dR0bHFxDDHmLb65Qc4uOP3cVwfEp/wDs/wCz/wCxagi5zwtJ8Pmd+PbuPiklU/aP2MvxHczaP/oVBdIOIkaGtd4Fty313WcYhh8tPI6OVhY9psWn+45g8xoV6XVZ222LjxCK4sydgPRv59uR/wDKT7DrzB0VsHFq8N51Ozf9RVY1MmKd4vjxXTgYMtD3MfxM/wBU38YVCrKN8Mjo5Glj2GzmniCr7uY/iZ/qm/jCpYZWrI9N2y1LAVGt1l80a4iIu6fLAiIgCIiAIiIAiIgCIiAIiIAs332D/L0/1zvwFaQs432fw1P9cfwFWsH8aJoxPwmZAiIvSnDCIiEGtbnNpM0b6R51ju+K/wAwnrN9Tjf+s8l1N7OxpDvLIW3B/wBcNHAgaS25W0cfA8ys9wXFn0lRHOzzo3B1uFxwc09xaSPWvSFBWx1ELJGHMyVgcPBw4EfcQuNib4asqsdzOnRtXp7OW9HmJFqu2e6bMXTUQAvq6C4A7zEToPonTkexdHA9zMz7OqpRELeZHZ7/AALj1R6syvLG0XHNcqvDVFLLYoeGYTPUvyQxvldyaL2F7XceDR3mwWvbD7s46UGSqbHNKbZRbO2Md19HO77aW05m04BszTUMeSCMNvbM46veR2ud29unAX0AUouXiMbKp7sNEX6OFUNZas/EUTWANaA0DgAAAPABftEXPLgREQBERAVLbvYZtezPHZs7B1TwDx8xx/sey/JVTdBA6OrqGPaWubGA5pFiCH2IIWsKLptnoo6uSpZdrpWBr29hIIId3Gwsf+XrSoJ1FUXqdmh2nKOEqYWo7pr3fB3WnkSiIisnGCIiAIiIAiIgCIiAIiIAiIgCzjfZ/DU/1x/AVo6zzfVATSQuA0bPr3ZmOA+8K1hPjRNGI+EzHERF6U4YREQgK8bu94PkJ6Ge5p3OuDxMRPE27WniR2akdoNHRa6tKNWOWRshNweaJ6jjla5ocCC0gEEG4IOoIPJdWsxumh/1J4o9L9aRrdPAlebX4hMWhhlkLGizWl7i1o5Bt7D1LrgLmLsznL9i88dyiejMN2zoamYwxTse+1wBcB1uOVxFnEcdL6LixrbygpHFkswLxxYwOkcO45RZp7iQvPIcRqhN1n7Nhfe7GH46Vt2p6UwPaGnrY+kgkDx8ocHNPJzeIP8AwKSXnbYnHvIq2KUmzCckn0HaEnwNnf0r0SCufisPsZWW5l3D1trG73hERVCwEREBjeMbb19LiBa+VzmU8hbk0aHxk3Ge3nOLCLE8PatcoK5k8TJYzmZI0Oae48+R7LdyybfDhmSrjmAsJo7E/wA0Zt+Es9iltzWJSuZNCdY48r2n5peTdo7ja/jfmufSqSjWdOR67tDCUq/Z1PF0kk0le2l9bP1uaWiIugeRCIiAIiIAiIgCIiAIiIAiKvVm3VHFOad5kbKPk9G830vcECxFtbrOFOc75E3bXTkQ2lvLCuni+FRVUD4ZRdkgsewjtBB7CCAR4KOl2xp2i5bPbmIJT/Zq7GE7UUlVcQzNc4cWatcPFjrELLZVIrPldlxsReL0MfxvdZXwPPRs8ojvo5hAdbszMJuD4XHeor4C4l6HN7o/VeikV2PaNRKzSZUeCg3o2edfgLiXoc3uj9U+AuJehze6P1XopFPtKfJGP4GHNnnX4C4l6HN7o/VPgLiXoc3uj9V6KRPaU+SH4GHNnnX4C4l6HN7o/VPgLiXoc3uj9V6KRPaU+SH4GHNnnX4C4l6HN7o/VPgLiXoc3uj9V6KVYm3iULJ3QOMolYSHM6GUnTwbqLWNxzWccfWn+WF+oeCgt7Mc+AuJehze6P1W2bDy1BoYm1Eb45Yx0ZD9C4N0a7vu23rBXFJt5SN1c2oA5+TT2Hj1FKYTjlNVszwSslb/ACm9jyI4g9xWjEV6lWPvxt46m2jQjTd0zvoiKgWgiIgKnvH2akraVoiaHSxyNLRcDQ9VwudO0H+ldzYrZRuH0+S4dI85pHDgTwDW/wAoH9ye1WBFr2Uc+fiXHjarw6w1/dvf++HEIi69biMULc0sjY2jiXENHtK2FM7CLhpKyOZgfG9sjHC7XMcHNI5gjQrmQBERAEREAREQBERAFiu8qFz8ZaGNc45IdGgk2DnE6DuutqWH71WZsWaObIB/ucun2dbNUv8Apy+Rpq8PNGtw0lOIm5w0dUXv4LHdtMQYMSa+jvdgY3Mzg59zcAjj1SAfC3YtNi2Ip5IWhzWG7RxY0/kqdtngkmFNjnhlLmiQN6N/XZqCRlafN4W0tx7ln2e453CD96ScVdWWvOzfpwuKt7Xe5alpx7bN9LFBG1uepmAs03001c62tgOWp9pHNQ+Wyx5+nkY7su2MD7MtvbuLr96ynanFPLaqCY6NljjFvmkPc17fev6iFr1HsjB0beqzzR8hv6LXiKUaEaceLV3onxatrysTFuTZ1MD25zVL6Spa2OeM6ObfJILAhzQdQbEaa+JXRm22mqap8VMCI4nZHSNbnLn9rWk9VoHa437h2rsYhshSxzskFmzWd0eVoF3BhPWt2WHE9w7Qs93XYS2ere2Ti1vAi+t7HQ9qyUKUqc60VayS56u93blppyv4EXldRNIxOrr6SJ0zX9O2Npc+KTJctAucr2NaWutfiCFzQ7YNq8PkqKZwa9kbnWeM1i0XIcARytoe/Vdl+x1OQQWMsRbzG/ooWDZ+lpaWt6An/Tla4cBfo82nZwcP7dirKUJJK2t99ktPFGepWaLeNiNXTNZAWdO0EyPLebjlbGwA3s3Lcu08dVp2AVcssDXStLXW1vYE95A0WZ7kKRpMryLkWC15TjXFVZQjFJKT+f8AbciKd8qbCwfbcf8AyE974fwBbwsH25e8bQOyPcwuMTbtJabFjbi41U4P/sv3H9BU4eZs7cJgyC7G8AsVx7FhTY4XUZsAY2PDeDnWs4OtxPD1g961F+yLpGDNLK641BmmsfEB9ivuFbvqWF4flaS3zQGhoHeAO3vWulVjSUratqxLTdiFx7eO8VLaWDKJAAZZCC4MJA6rWgjM83GlwBfW+oUyKbEOjzxzuzWvllbE9p7i1rGuHqcsw2Zoz/j8zJfOE8pN+3rEtPukW8VvACmulSkox5L1uriOquyqbM7cNq3yU8rfJ6qElr2XzC/zmE+c08QqdhG8SufVT0ksjC8TOY17I7BrGXBLWk3c5xtbMSBYnXgYPFqot2le6LtkjDrd7G3/AC9i59jqRr8fqSfk1E34itsoRgpNLgn5XIu2XHGYMVpIn1MNS9/RtL3RTCN7XtaLkdVjSw2vaxUrgG8GCpoHVZ6gjYXSN45co18eB8VObQNBpJweBhkH+0rIdzNGyppKmCTVksbmu7NHAg25KvpKnd8H+xluZPbK7TVmLPL874mEnJHGQ3Ky9gZH2LnOPGzcoHeo7eXQmlMUtV/mqeV4icJbSOhJBOeI2tqAb3Bd1R1uxcu7mqZhck1PIXzBr8olhikmZzyvcwHI8Ai7TwuNV2N50E2KNihijc2Jj87nOGVz3AFrWsYet8o3c4AcLXWW6fh9BwLnsRhUcFK0RPL2EDLc3sANAFYVC7IYU6mpI43nrAaqaVYyCIiAIiIAiIgCIiALHttdl66TEOm6MTNzNsGEts1vAEkcb66DtWwrhrKpkTHPeQGtBJJ00CsUK86LeTirPS+jMZRUt5A0mK1gY0dDGLAaF8l//GqrtZgOIYi5rXloa03a1gdlB4ZnOdYmwvoAOJX5Zt1UYhUGOAujivYZQM7+8lwIY31E+HZamYBU5bieZjrcRI533Pu0+xWPew07XUZdWvs/LVeZhpNc0QdXuvZ5BHE1wbLCczX954g8wbD2BSWA47VBgifFGSzq52yEi45jISPvXXotoqyKpNJWMbK17epK1uXMDcZXt82/Hh+aq+7ir6CqqLnJAyR9yTZodmsBc8TYDTistlJ0pKTUstrcfzeOjXk16Ji6zLx+hf6bDJJZM8pueF7WAbcHKwHXUgEk6mw4AACBxPZCakrTWUga7P8A6kRJaCTxIIBsT4EKyQbZ0TpBH0wY8+a2Rros30c4APqUrU1kcbC97mtaPlE2HtVbNVpvVWurWa3ryMrRZB/4rVTMsI2wk8TcyH1DKAfWbcweC4K3Z+byOVkZAfIxzRnLj518znEAlziST3k9i7cG2lG+/RvdIBxdHFJI33mtIPtUjh2M09QCYpWvsbOAOrTyc06tPcQoaqQ1y2t4P6k6PiUHdVgdTRvkZLGWg8Hc/u0WlrpHGacSGLpWdIASWZhmsOJy8eXtUZLt3QMcA6bKCbB5a/o7/WgZPvUTVStNzs23rogrRVifPcsT2g2RxE4p5QWNkvI13UzANaLAC5FzoOWvctgqsZgiYHukblNrEG978A23EnsA1K6WG7Y0VRIY2TASD/63tdE+3MNeAT6lNKVSCk4rRqz04BpPeSlI4mNtxY2Gi5lw1VZHEMz3tYObiAPaVwTYzAxrXGRtnC7SDmzC17tt52ljpfitCTe4yKztVsY59UytpsrZ2WDgQcsjR2OtqCOwj7xouzPjlc6PKII432tmdI94HflDAXeF2+IUzQ7QUs7iyOZjnt4svleO8sNjbvsobeLTdJSWFX5G8ODhJnEdw3i3NcW7Nb9g8DuTbajP97mPiiD2Y3eFk7qiQl7yXOzP0L5Ha5iB5o5AcBzUNsrspXU2Lvmla14ke5znMzBt3EmwDhe2v3LS8Bll8naZ3AutqQdPavy/aqjaT/1mnKbEtu8A8nFoIae4qM83fjfeLI5NpKWWWkmjhLQ98bmtL721FtbC/A39SyDZxtTgFLUzSxZy0sZHa4Di4kXcSOqB+YW1UddFMwPieyRp4OY4OB9YUbi9dQyk0k0kRdKC3onFuZ2l/MOp0F/UohJr3WtOJLXEx3D93lXVvdUU8xg6Rxc7oXPiYHHUhnWJte+pPqHBSdZgWPUEbpm1xc2JrnkTZZGkMaXEEuF9QLfmOKnhW09C0xx18rI2m1w3pWMtpldKY3htuFnHRS8WBeXRhzqg1UTrEXex0ZtqCWxta19j2OuLjuWyU5b5bvIi3I7+we1ZxGkbK5mR9hmb2Xt2X7FZFH4Ng0dKzKztNyeZUgq7MgiIoAREQBERAEREAVK3uVLmYa4N+W9jT4E3P9retXVRG1eBitpJYToXC7Tyc03afaFZwlSNOvCc9yab6mE03FpFF3LYc3o5ZSLuLi0dwC1FZVusrjSTS0kwyPzXAOl+eXmPBam6QAXJCyxsHCvO/Ftp809UxTd4o456ZjtSASOBWJbGRvkxR7ATlEszvokusSORIAF1pUe3kElY6mZ17NN3t1AfcDJp22ue63jaibtJB/ik3e+Wx/rKsUozpYerdWuo9G38/kYNpyj6l3212YhfQT9W7mROc0nXrNGYHx0Vd2JqRiWGy01Q7M1uUZiddCHNN+egV42unDKGoJ7IZPwlYdQySjCp+juB0sfSEcejs4H1Zst+5Z4WEqlGMU7PaKz5XT+yIm7Sv4Gl4DJh1OCwSGd4Nj0bHyhv8vUBDfBVfbfFG0+JU89OHxl7Mr8zHx5gHAahwGbR33BWTdpgrHUjZJO3zW8AB2WH5qq73JW+WU4Y2zYw4XHDNmaS3xAy3+kO9YYVRdWUYp/llv8AJ+HMmd8qv4H429kccUiLAAZqeLPbTOC83DuY6rR3gWWoN2bifBaUZy5hBvyI4W5LMNqpAcVpe6CG/d1nHX1LZswEf9P5LTipO1P/AMr5sygt/mYtuxqJZKnycuJZEHtYfmtLiXW8dNeQAVk3u4HFFRsnjuyWKVha4cdTY6+w+pV7dC4HEJTzz295XDfTIBhhF9TLHb3r/kfYrc2/aHqv5MF8IjcbxLyzZyR8gDnBrTcgGzg4WI5FfndG2Sohc6Qk2ytv25WizWDk0Ds53PEqMonX2Yn7gPxhS25LEGmnfHcZmu59iqtNYZpd76Iz/wCfoSm8zZ1nkT6iO7JqYdJHI02c3KbuAPGxbfTwVH2j2nOIYAXSgGSKWIE2HHNlJHK4v7Ve962OtioXwNOaWoBjYwcSDo51uQbck8BpzWYVGFOp8ClL9Okniy99nX09h9i2Yd+7TvvzaeXH0uRLe/I7GP7UztoKOmEjh04c+VwJDjGHZAwHsvZ1/DvK1XY7Ag2ljLxa7RZo6rWjsDQOCyXF8Akfh1JVsBcKfMyQDUiMuzB1u45r/S7lt+zdYySlic0ixYNb6cOwqtVts428b+d/sZLezOt4crsGq6eqpiWtnc5k8Y819rEOI4Z7Zutx0CgN6uI9LV0U8PVdNA8FzdHEE5SLjXg5wv2XUpvoq/K54KaLrmIl8pGuUuFmNPJx6xtyseCgdtKboJ8MicesyF2Ycszha/sPsK2xdsr42f8ABD4mv4BgTHU0fSDUsAAGgaLaAAcAs52Zr3YftBVUkekD5A4R/JaXNa45R2ed9wWv4aR0LPoj+yw+rqQ7amUjhnjHsYy/36KtDVS8jNm9IvjeC+rUSEREAREQBERAEREAREQENjWylNV6yMGYcHWF11BsazLlLi5vJz5HD1tLrH2KyIs1UnFWTfUiyK9R7EU0brloOhAFgGgHk0aLgwvYGmpqkzx9Q/NaA1oHcBwVoRM8rNX37/EWR1sRw+OoidHI1r2uGocA4c+B71B4HsJT0oka3VsvnNPD2KyoozStlvoLFZo9hoYCeiLmNJvlDntbr/K0gH1hcmL7EU1VG1kjQcnmkADL9HkrEinaTve76iyKhWbtaWR7H2s9lusAA5xHDMeJ4BWk0rTH0bhmaW5SDrcWtquZFDlJ72LFWwfd/TUtQZ4uoT8loDWgcgBoFJ7RbNwV0eSVjXWvlJaHFpPEtvwKlkTPK+a+osjONssBjw/BZoY8zg/KGgAu1LgezuBPqXS3R4TBNSOzNaXB3LUafctQnga9pa4XB0IXVw7BoKe/RMDL8bLZtf8Abycb3uRl1uRx2NpydWjXjYAEgdhdxI7iv3jex9LVwiJ8bCGeaS0Etv8ANvwKnEWvM73uTYh8C2YipIOhb1mciukNhqdhPR3jDjcta98Y17mOAKsqKFJrcybEDQbHU8RByt6pJDQA0XPE2HE951XU2k3eUddIJHsa14td4aMxtwu7jorSiZne4OCjphHG1gNw0W1VYqN2lG6rFS1jY3hxd1Ght3E3JNuJJ7VbkS4PjRYL6iKAEREAREQBERAEREAREQBERAEREAREQBERAEREAREQBERAEREAREQBERAEREAREQBERAEREAREQBERAEREAREQBERAEREAREQBERAEREAREQBERAEREAREQBERAEREAREQBERA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4098" name="Picture 2" descr="http://www.mpcpoker.com/wp-content/uploads/2009/07/what-beats-what-poke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2564904"/>
            <a:ext cx="6387398" cy="3168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743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07975" y="2132856"/>
            <a:ext cx="8229600" cy="3921299"/>
          </a:xfrm>
        </p:spPr>
        <p:txBody>
          <a:bodyPr/>
          <a:lstStyle/>
          <a:p>
            <a:r>
              <a:rPr lang="en-US" b="1" dirty="0" smtClean="0"/>
              <a:t>Start :</a:t>
            </a:r>
            <a:endParaRPr lang="en-US" dirty="0"/>
          </a:p>
          <a:p>
            <a:pPr lvl="1"/>
            <a:r>
              <a:rPr lang="en-US" dirty="0" smtClean="0"/>
              <a:t>Calculate each hands’ score </a:t>
            </a:r>
            <a:endParaRPr lang="en-US" dirty="0"/>
          </a:p>
          <a:p>
            <a:pPr lvl="1"/>
            <a:r>
              <a:rPr lang="en-US" dirty="0" smtClean="0"/>
              <a:t>Declare a winner</a:t>
            </a:r>
            <a:endParaRPr lang="en-US" dirty="0"/>
          </a:p>
          <a:p>
            <a:endParaRPr lang="en-US" dirty="0"/>
          </a:p>
          <a:p>
            <a:pPr lvl="1"/>
            <a:endParaRPr lang="fr-FR" dirty="0" smtClean="0"/>
          </a:p>
          <a:p>
            <a:r>
              <a:rPr lang="fr-FR" b="1" dirty="0" smtClean="0"/>
              <a:t>Tests :</a:t>
            </a:r>
          </a:p>
          <a:p>
            <a:pPr lvl="1"/>
            <a:r>
              <a:rPr lang="pt-BR" dirty="0" smtClean="0"/>
              <a:t>“2H </a:t>
            </a:r>
            <a:r>
              <a:rPr lang="pt-BR" dirty="0"/>
              <a:t>6S 9S KS </a:t>
            </a:r>
            <a:r>
              <a:rPr lang="pt-BR" dirty="0" smtClean="0"/>
              <a:t>JD” hand, scores </a:t>
            </a:r>
            <a:r>
              <a:rPr lang="pt-BR" i="1" dirty="0" smtClean="0"/>
              <a:t>High Card</a:t>
            </a:r>
            <a:r>
              <a:rPr lang="pt-BR" dirty="0" smtClean="0"/>
              <a:t> </a:t>
            </a:r>
          </a:p>
          <a:p>
            <a:pPr lvl="1"/>
            <a:r>
              <a:rPr lang="pt-BR" dirty="0" smtClean="0"/>
              <a:t>“2H </a:t>
            </a:r>
            <a:r>
              <a:rPr lang="pt-BR" dirty="0"/>
              <a:t>6C 9S 2D </a:t>
            </a:r>
            <a:r>
              <a:rPr lang="pt-BR" dirty="0" smtClean="0"/>
              <a:t>JD” hand, scores </a:t>
            </a:r>
            <a:r>
              <a:rPr lang="pt-BR" i="1" dirty="0" smtClean="0"/>
              <a:t>Pair</a:t>
            </a:r>
            <a:endParaRPr lang="fr-FR" i="1" dirty="0" smtClean="0"/>
          </a:p>
          <a:p>
            <a:pPr lvl="1"/>
            <a:r>
              <a:rPr lang="pt-BR" dirty="0"/>
              <a:t>“2H 6S 9S </a:t>
            </a:r>
            <a:r>
              <a:rPr lang="pt-BR" dirty="0" smtClean="0"/>
              <a:t>AS </a:t>
            </a:r>
            <a:r>
              <a:rPr lang="pt-BR" dirty="0"/>
              <a:t>JD</a:t>
            </a:r>
            <a:r>
              <a:rPr lang="pt-BR" dirty="0" smtClean="0"/>
              <a:t>” is higher than </a:t>
            </a:r>
            <a:r>
              <a:rPr lang="pt-BR" dirty="0"/>
              <a:t>“2H 6S 9S KS JD”</a:t>
            </a:r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57200" y="980728"/>
            <a:ext cx="8229600" cy="782960"/>
          </a:xfrm>
        </p:spPr>
        <p:txBody>
          <a:bodyPr/>
          <a:lstStyle/>
          <a:p>
            <a:r>
              <a:rPr lang="fr-FR" sz="3600" dirty="0"/>
              <a:t>Kata 4 : Poker Score</a:t>
            </a:r>
            <a:r>
              <a:rPr lang="fr-FR" sz="3600" dirty="0" smtClean="0"/>
              <a:t/>
            </a:r>
            <a:br>
              <a:rPr lang="fr-FR" sz="3600" dirty="0" smtClean="0"/>
            </a:br>
            <a:r>
              <a:rPr lang="fr-FR" sz="2400" dirty="0" smtClean="0"/>
              <a:t>Tips</a:t>
            </a:r>
            <a:endParaRPr lang="fr-FR" sz="2400" dirty="0"/>
          </a:p>
        </p:txBody>
      </p:sp>
      <p:sp>
        <p:nvSpPr>
          <p:cNvPr id="5" name="AutoShape 2" descr="data:image/jpeg;base64,/9j/4AAQSkZJRgABAQAAAQABAAD/2wCEAAkGBhAQEBUUExITEhUTFBUXFhUVFRUSGRgWGBgaFhkXFhUYHCYeGBwjGRgVHzAgIycpLCwsFR4xNTAqNSYrLCkBCQoKDgwOGg8PGi4kHyUtNiopLiwtLCw1Ki41LCwsLzQ0LCwsLC8sLDUsLC4tLy8tLCwsLC0sLCwsLCwpLCwsKv/AABEIAL4BCgMBIgACEQEDEQH/xAAcAAEAAwADAQEAAAAAAAAAAAAABQYHAwQIAQL/xABHEAABAwIDBAUGDAQFBAMAAAABAAIDBBEFEiEGBzFREyJBYXEUMlSBkZIWF0JScnOTobLB0dI0YoKxFSQzovAjo7PjJkNk/8QAGwEBAAIDAQEAAAAAAAAAAAAAAAEEAgMFBgf/xAA3EQACAQIDBQUGBgEFAAAAAAAAAQIDEQQSIRMxQVGRBVJhcYEVIjOxwdEUMlOh4fCSBiNCQ3L/2gAMAwEAAhEDEQA/ANxREQBERAEREAREQBFD4ttfQ0jsk1Qxjvm6vcPFrQSPWo/4zMK9JH2cv7FsVGo1dRfQwdSC0bRaEVX+MzCvSR9nL+xPjMwr0kfZy/sWWwq919GRtYd5dS0Iqv8AGZhXpI+zl/YnxmYV6SPs5f2JsKvdfRjaw7y6loRVf4zMK9JH2cv7E+MzCvSR9nL+xNhV7r6MbWHeXUtCKr/GZhXpI+zl/Yu1hm3FBUyiKGbpHuvZojl4DUkktsB3lQ6NRK7i+gVSD0TXUnkRcNZWMhjdI8kNYLuIDnWA4mzQStRtSbdkcyKs/GRhfpI9yX9ifGRhfpI9yX9i17Wn3l1Lns/F/pS/xf2LMirPxkYX6SPcl/YnxkYX6SPcl/Ym1p95dR7Pxf6Uv8X9izIoPD9t8PneGR1LC48AczL9wzgXPcFOLKMlLcyvUo1KTtUi0/FW+YREWRqCIiAIiIAiIgCIiAIiIAiIgCrG8TaR1DRF0ZtJI4RxnjlJBJdbuaDbvsrOs232n/L0/wBc78BVjDQU6sUzTXk4020ZG95cSSSSSSSTckniSTxK+ItH2Ep8GdQPNUYelzPz9IQHhvyei1vw+brdeiq1NlG9r+RxqcNo7XsZwi+utfTh2X5d6+Laawi7dJhE80ckkcbnshAdIR8kG+pHEjQk2vYC5sF1FCaYswiIpIC2rdFgUcVH5RoZJybn5rGuLQzu1BcfEcgsVXoDdzh8cGHxNZIyQuu97mODhnf1i24+aLD1LndoytStzZdwSvO5ZkIRFwTrnn/bvDGU+ITRsAazM1zQNAA9ofYDsAJI9SgFqeI7Q4PijXipvTSx5g2S3WygmxDgOsLfIcOJ05rL5mtDiGkuaCbEjKSL6Ei5tcdl1wK8EpXi00z6v2ZiKlSkqdWLjKKSd1v8U9zPwiItB1Qtm3V7TSVMD4pXFz4MtnHUljr2ue0ggi/IhYytD3MH/Mz/AFTfxq1hJNVUuZwe36EKmCnJrWOq6o1xERdw+YhERAEREAREQBERAEREAREQBZtvt/h6f6134CtJWbb7f4en+td+Aq1g/jRK+J+EzIkRF6U4gQC6L6wgEXFxfUcxyQG/7A7LvoKTo5HBzpHGRwA0aXNa0sv8q2Xj2rFdrcNFNXVETQA1krsoHY13WaPUCB6l6GjqhLCJIXNcHszRnsNxdp8OC80VjpDI8y5ukLnZ83nZ79bN33uuRgHKdScpM6OLUYwjFHEiIuuc0LSt1G1dPTRTR1EzIhna9gdcXuLOseHyW6d6zVFqrUlVhlZtpVHTlmR6YwvG6aqBMEzJQ02ORwNvEcQu8sQ3T4bUurmyx5mxMa7pHkHK5p06MHgTmse7LfsW3rzuJoqjPKnc7NCo6kczVjNsQ3NsfM90dR0bHFxDDHmLb65Qc4uOP3cVwfEp/wDs/wCz/wCxagi5zwtJ8Pmd+PbuPiklU/aP2MvxHczaP/oVBdIOIkaGtd4Fty313WcYhh8tPI6OVhY9psWn+45g8xoV6XVZ222LjxCK4sydgPRv59uR/wDKT7DrzB0VsHFq8N51Ozf9RVY1MmKd4vjxXTgYMtD3MfxM/wBU38YVCrKN8Mjo5Glj2GzmniCr7uY/iZ/qm/jCpYZWrI9N2y1LAVGt1l80a4iIu6fLAiIgCIiAIiIAiIgCIiAIiIAs332D/L0/1zvwFaQs432fw1P9cfwFWsH8aJoxPwmZAiIvSnDCIiEGtbnNpM0b6R51ju+K/wAwnrN9Tjf+s8l1N7OxpDvLIW3B/wBcNHAgaS25W0cfA8ys9wXFn0lRHOzzo3B1uFxwc09xaSPWvSFBWx1ELJGHMyVgcPBw4EfcQuNib4asqsdzOnRtXp7OW9HmJFqu2e6bMXTUQAvq6C4A7zEToPonTkexdHA9zMz7OqpRELeZHZ7/AALj1R6syvLG0XHNcqvDVFLLYoeGYTPUvyQxvldyaL2F7XceDR3mwWvbD7s46UGSqbHNKbZRbO2Md19HO77aW05m04BszTUMeSCMNvbM46veR2ud29unAX0AUouXiMbKp7sNEX6OFUNZas/EUTWANaA0DgAAAPABftEXPLgREQBERAVLbvYZtezPHZs7B1TwDx8xx/sey/JVTdBA6OrqGPaWubGA5pFiCH2IIWsKLptnoo6uSpZdrpWBr29hIIId3Gwsf+XrSoJ1FUXqdmh2nKOEqYWo7pr3fB3WnkSiIisnGCIiAIiIAiIgCIiAIiIAiIgCzjfZ/DU/1x/AVo6zzfVATSQuA0bPr3ZmOA+8K1hPjRNGI+EzHERF6U4YREQgK8bu94PkJ6Ge5p3OuDxMRPE27WniR2akdoNHRa6tKNWOWRshNweaJ6jjla5ocCC0gEEG4IOoIPJdWsxumh/1J4o9L9aRrdPAlebX4hMWhhlkLGizWl7i1o5Bt7D1LrgLmLsznL9i88dyiejMN2zoamYwxTse+1wBcB1uOVxFnEcdL6LixrbygpHFkswLxxYwOkcO45RZp7iQvPIcRqhN1n7Nhfe7GH46Vt2p6UwPaGnrY+kgkDx8ocHNPJzeIP8AwKSXnbYnHvIq2KUmzCckn0HaEnwNnf0r0SCufisPsZWW5l3D1trG73hERVCwEREBjeMbb19LiBa+VzmU8hbk0aHxk3Ge3nOLCLE8PatcoK5k8TJYzmZI0Oae48+R7LdyybfDhmSrjmAsJo7E/wA0Zt+Es9iltzWJSuZNCdY48r2n5peTdo7ja/jfmufSqSjWdOR67tDCUq/Z1PF0kk0le2l9bP1uaWiIugeRCIiAIiIAiIgCIiAIiIAiKvVm3VHFOad5kbKPk9G830vcECxFtbrOFOc75E3bXTkQ2lvLCuni+FRVUD4ZRdkgsewjtBB7CCAR4KOl2xp2i5bPbmIJT/Zq7GE7UUlVcQzNc4cWatcPFjrELLZVIrPldlxsReL0MfxvdZXwPPRs8ojvo5hAdbszMJuD4XHeor4C4l6HN7o/VeikV2PaNRKzSZUeCg3o2edfgLiXoc3uj9U+AuJehze6P1XopFPtKfJGP4GHNnnX4C4l6HN7o/VPgLiXoc3uj9V6KRPaU+SH4GHNnnX4C4l6HN7o/VPgLiXoc3uj9V6KRPaU+SH4GHNnnX4C4l6HN7o/VPgLiXoc3uj9V6KVYm3iULJ3QOMolYSHM6GUnTwbqLWNxzWccfWn+WF+oeCgt7Mc+AuJehze6P1W2bDy1BoYm1Eb45Yx0ZD9C4N0a7vu23rBXFJt5SN1c2oA5+TT2Hj1FKYTjlNVszwSslb/ACm9jyI4g9xWjEV6lWPvxt46m2jQjTd0zvoiKgWgiIgKnvH2akraVoiaHSxyNLRcDQ9VwudO0H+ldzYrZRuH0+S4dI85pHDgTwDW/wAoH9ye1WBFr2Uc+fiXHjarw6w1/dvf++HEIi69biMULc0sjY2jiXENHtK2FM7CLhpKyOZgfG9sjHC7XMcHNI5gjQrmQBERAEREAREQBERAFiu8qFz8ZaGNc45IdGgk2DnE6DuutqWH71WZsWaObIB/ucun2dbNUv8Apy+Rpq8PNGtw0lOIm5w0dUXv4LHdtMQYMSa+jvdgY3Mzg59zcAjj1SAfC3YtNi2Ip5IWhzWG7RxY0/kqdtngkmFNjnhlLmiQN6N/XZqCRlafN4W0tx7ln2e453CD96ScVdWWvOzfpwuKt7Xe5alpx7bN9LFBG1uepmAs03001c62tgOWp9pHNQ+Wyx5+nkY7su2MD7MtvbuLr96ynanFPLaqCY6NljjFvmkPc17fev6iFr1HsjB0beqzzR8hv6LXiKUaEaceLV3onxatrysTFuTZ1MD25zVL6Spa2OeM6ObfJILAhzQdQbEaa+JXRm22mqap8VMCI4nZHSNbnLn9rWk9VoHa437h2rsYhshSxzskFmzWd0eVoF3BhPWt2WHE9w7Qs93XYS2ere2Ti1vAi+t7HQ9qyUKUqc60VayS56u93blppyv4EXldRNIxOrr6SJ0zX9O2Npc+KTJctAucr2NaWutfiCFzQ7YNq8PkqKZwa9kbnWeM1i0XIcARytoe/Vdl+x1OQQWMsRbzG/ooWDZ+lpaWt6An/Tla4cBfo82nZwcP7dirKUJJK2t99ktPFGepWaLeNiNXTNZAWdO0EyPLebjlbGwA3s3Lcu08dVp2AVcssDXStLXW1vYE95A0WZ7kKRpMryLkWC15TjXFVZQjFJKT+f8AbciKd8qbCwfbcf8AyE974fwBbwsH25e8bQOyPcwuMTbtJabFjbi41U4P/sv3H9BU4eZs7cJgyC7G8AsVx7FhTY4XUZsAY2PDeDnWs4OtxPD1g961F+yLpGDNLK641BmmsfEB9ivuFbvqWF4flaS3zQGhoHeAO3vWulVjSUratqxLTdiFx7eO8VLaWDKJAAZZCC4MJA6rWgjM83GlwBfW+oUyKbEOjzxzuzWvllbE9p7i1rGuHqcsw2Zoz/j8zJfOE8pN+3rEtPukW8VvACmulSkox5L1uriOquyqbM7cNq3yU8rfJ6qElr2XzC/zmE+c08QqdhG8SufVT0ksjC8TOY17I7BrGXBLWk3c5xtbMSBYnXgYPFqot2le6LtkjDrd7G3/AC9i59jqRr8fqSfk1E34itsoRgpNLgn5XIu2XHGYMVpIn1MNS9/RtL3RTCN7XtaLkdVjSw2vaxUrgG8GCpoHVZ6gjYXSN45co18eB8VObQNBpJweBhkH+0rIdzNGyppKmCTVksbmu7NHAg25KvpKnd8H+xluZPbK7TVmLPL874mEnJHGQ3Ky9gZH2LnOPGzcoHeo7eXQmlMUtV/mqeV4icJbSOhJBOeI2tqAb3Bd1R1uxcu7mqZhck1PIXzBr8olhikmZzyvcwHI8Ai7TwuNV2N50E2KNihijc2Jj87nOGVz3AFrWsYet8o3c4AcLXWW6fh9BwLnsRhUcFK0RPL2EDLc3sANAFYVC7IYU6mpI43nrAaqaVYyCIiAIiIAiIgCIiALHttdl66TEOm6MTNzNsGEts1vAEkcb66DtWwrhrKpkTHPeQGtBJJ00CsUK86LeTirPS+jMZRUt5A0mK1gY0dDGLAaF8l//GqrtZgOIYi5rXloa03a1gdlB4ZnOdYmwvoAOJX5Zt1UYhUGOAujivYZQM7+8lwIY31E+HZamYBU5bieZjrcRI533Pu0+xWPew07XUZdWvs/LVeZhpNc0QdXuvZ5BHE1wbLCczX954g8wbD2BSWA47VBgifFGSzq52yEi45jISPvXXotoqyKpNJWMbK17epK1uXMDcZXt82/Hh+aq+7ir6CqqLnJAyR9yTZodmsBc8TYDTistlJ0pKTUstrcfzeOjXk16Ji6zLx+hf6bDJJZM8pueF7WAbcHKwHXUgEk6mw4AACBxPZCakrTWUga7P8A6kRJaCTxIIBsT4EKyQbZ0TpBH0wY8+a2Rros30c4APqUrU1kcbC97mtaPlE2HtVbNVpvVWurWa3ryMrRZB/4rVTMsI2wk8TcyH1DKAfWbcweC4K3Z+byOVkZAfIxzRnLj518znEAlziST3k9i7cG2lG+/RvdIBxdHFJI33mtIPtUjh2M09QCYpWvsbOAOrTyc06tPcQoaqQ1y2t4P6k6PiUHdVgdTRvkZLGWg8Hc/u0WlrpHGacSGLpWdIASWZhmsOJy8eXtUZLt3QMcA6bKCbB5a/o7/WgZPvUTVStNzs23rogrRVifPcsT2g2RxE4p5QWNkvI13UzANaLAC5FzoOWvctgqsZgiYHukblNrEG978A23EnsA1K6WG7Y0VRIY2TASD/63tdE+3MNeAT6lNKVSCk4rRqz04BpPeSlI4mNtxY2Gi5lw1VZHEMz3tYObiAPaVwTYzAxrXGRtnC7SDmzC17tt52ljpfitCTe4yKztVsY59UytpsrZ2WDgQcsjR2OtqCOwj7xouzPjlc6PKII432tmdI94HflDAXeF2+IUzQ7QUs7iyOZjnt4svleO8sNjbvsobeLTdJSWFX5G8ODhJnEdw3i3NcW7Nb9g8DuTbajP97mPiiD2Y3eFk7qiQl7yXOzP0L5Ha5iB5o5AcBzUNsrspXU2Lvmla14ke5znMzBt3EmwDhe2v3LS8Bll8naZ3AutqQdPavy/aqjaT/1mnKbEtu8A8nFoIae4qM83fjfeLI5NpKWWWkmjhLQ98bmtL721FtbC/A39SyDZxtTgFLUzSxZy0sZHa4Di4kXcSOqB+YW1UddFMwPieyRp4OY4OB9YUbi9dQyk0k0kRdKC3onFuZ2l/MOp0F/UohJr3WtOJLXEx3D93lXVvdUU8xg6Rxc7oXPiYHHUhnWJte+pPqHBSdZgWPUEbpm1xc2JrnkTZZGkMaXEEuF9QLfmOKnhW09C0xx18rI2m1w3pWMtpldKY3htuFnHRS8WBeXRhzqg1UTrEXex0ZtqCWxta19j2OuLjuWyU5b5bvIi3I7+we1ZxGkbK5mR9hmb2Xt2X7FZFH4Ng0dKzKztNyeZUgq7MgiIoAREQBERAEREAVK3uVLmYa4N+W9jT4E3P9retXVRG1eBitpJYToXC7Tyc03afaFZwlSNOvCc9yab6mE03FpFF3LYc3o5ZSLuLi0dwC1FZVusrjSTS0kwyPzXAOl+eXmPBam6QAXJCyxsHCvO/Ftp809UxTd4o456ZjtSASOBWJbGRvkxR7ATlEszvokusSORIAF1pUe3kElY6mZ17NN3t1AfcDJp22ue63jaibtJB/ik3e+Wx/rKsUozpYerdWuo9G38/kYNpyj6l3212YhfQT9W7mROc0nXrNGYHx0Vd2JqRiWGy01Q7M1uUZiddCHNN+egV42unDKGoJ7IZPwlYdQySjCp+juB0sfSEcejs4H1Zst+5Z4WEqlGMU7PaKz5XT+yIm7Sv4Gl4DJh1OCwSGd4Nj0bHyhv8vUBDfBVfbfFG0+JU89OHxl7Mr8zHx5gHAahwGbR33BWTdpgrHUjZJO3zW8AB2WH5qq73JW+WU4Y2zYw4XHDNmaS3xAy3+kO9YYVRdWUYp/llv8AJ+HMmd8qv4H429kccUiLAAZqeLPbTOC83DuY6rR3gWWoN2bifBaUZy5hBvyI4W5LMNqpAcVpe6CG/d1nHX1LZswEf9P5LTipO1P/AMr5sygt/mYtuxqJZKnycuJZEHtYfmtLiXW8dNeQAVk3u4HFFRsnjuyWKVha4cdTY6+w+pV7dC4HEJTzz295XDfTIBhhF9TLHb3r/kfYrc2/aHqv5MF8IjcbxLyzZyR8gDnBrTcgGzg4WI5FfndG2Sohc6Qk2ytv25WizWDk0Ds53PEqMonX2Yn7gPxhS25LEGmnfHcZmu59iqtNYZpd76Iz/wCfoSm8zZ1nkT6iO7JqYdJHI02c3KbuAPGxbfTwVH2j2nOIYAXSgGSKWIE2HHNlJHK4v7Ve962OtioXwNOaWoBjYwcSDo51uQbck8BpzWYVGFOp8ClL9Okniy99nX09h9i2Yd+7TvvzaeXH0uRLe/I7GP7UztoKOmEjh04c+VwJDjGHZAwHsvZ1/DvK1XY7Ag2ljLxa7RZo6rWjsDQOCyXF8Akfh1JVsBcKfMyQDUiMuzB1u45r/S7lt+zdYySlic0ixYNb6cOwqtVts428b+d/sZLezOt4crsGq6eqpiWtnc5k8Y819rEOI4Z7Zutx0CgN6uI9LV0U8PVdNA8FzdHEE5SLjXg5wv2XUpvoq/K54KaLrmIl8pGuUuFmNPJx6xtyseCgdtKboJ8MicesyF2Ycszha/sPsK2xdsr42f8ABD4mv4BgTHU0fSDUsAAGgaLaAAcAs52Zr3YftBVUkekD5A4R/JaXNa45R2ed9wWv4aR0LPoj+yw+rqQ7amUjhnjHsYy/36KtDVS8jNm9IvjeC+rUSEREAREQBERAEREAREQENjWylNV6yMGYcHWF11BsazLlLi5vJz5HD1tLrH2KyIs1UnFWTfUiyK9R7EU0brloOhAFgGgHk0aLgwvYGmpqkzx9Q/NaA1oHcBwVoRM8rNX37/EWR1sRw+OoidHI1r2uGocA4c+B71B4HsJT0oka3VsvnNPD2KyoozStlvoLFZo9hoYCeiLmNJvlDntbr/K0gH1hcmL7EU1VG1kjQcnmkADL9HkrEinaTve76iyKhWbtaWR7H2s9lusAA5xHDMeJ4BWk0rTH0bhmaW5SDrcWtquZFDlJ72LFWwfd/TUtQZ4uoT8loDWgcgBoFJ7RbNwV0eSVjXWvlJaHFpPEtvwKlkTPK+a+osjONssBjw/BZoY8zg/KGgAu1LgezuBPqXS3R4TBNSOzNaXB3LUafctQnga9pa4XB0IXVw7BoKe/RMDL8bLZtf8Abycb3uRl1uRx2NpydWjXjYAEgdhdxI7iv3jex9LVwiJ8bCGeaS0Etv8ANvwKnEWvM73uTYh8C2YipIOhb1mciukNhqdhPR3jDjcta98Y17mOAKsqKFJrcybEDQbHU8RByt6pJDQA0XPE2HE951XU2k3eUddIJHsa14td4aMxtwu7jorSiZne4OCjphHG1gNw0W1VYqN2lG6rFS1jY3hxd1Ght3E3JNuJJ7VbkS4PjRYL6iKAEREAREQBERAEREAREQBERAEREAREQBERAEREAREQBERAEREAREQBERAEREAREQBERAEREAREQBERAEREAREQBERAEREAREQBERAEREAREQBERAEREAREQBERAEREAREQBERA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6982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57200" y="1124744"/>
            <a:ext cx="8229600" cy="504056"/>
          </a:xfrm>
        </p:spPr>
        <p:txBody>
          <a:bodyPr/>
          <a:lstStyle/>
          <a:p>
            <a:r>
              <a:rPr lang="en-US" b="1" dirty="0" smtClean="0"/>
              <a:t>Thank you and remember :</a:t>
            </a:r>
            <a:endParaRPr lang="en-US" b="1" dirty="0"/>
          </a:p>
        </p:txBody>
      </p:sp>
      <p:pic>
        <p:nvPicPr>
          <p:cNvPr id="5122" name="Picture 2" descr="http://news.esea.net/global/media_preview.php?url=http%3A%2F%2Ffarm6.staticflickr.com%2F5258%2F5506151575_132af7e3fd_z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1916832"/>
            <a:ext cx="6199956" cy="4494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0173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heme/theme1.xml><?xml version="1.0" encoding="utf-8"?>
<a:theme xmlns:a="http://schemas.openxmlformats.org/drawingml/2006/main" name="Modèle par défaut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/>
      </a:spPr>
      <a:bodyPr rtlCol="0" anchor="ctr"/>
      <a:lstStyle>
        <a:defPPr algn="ctr">
          <a:defRPr dirty="0" err="1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626B393C06DC428FD00347AA933125" ma:contentTypeVersion="3" ma:contentTypeDescription="Create a new document." ma:contentTypeScope="" ma:versionID="ddc36a71372b01a9335f976c135253b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3efc9269a70eb8c7f7dbbd44c368f1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verageRating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0571E87-5740-4EF1-9D98-E17CEEA35D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95F366-8E23-4BF1-A7B4-7EC481F3EA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74B2B0-7D19-45A4-83FE-E016FDC5AE00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sharepoint/v3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43</TotalTime>
  <Words>238</Words>
  <Application>Microsoft Office PowerPoint</Application>
  <PresentationFormat>Affichage à l'écran (4:3)</PresentationFormat>
  <Paragraphs>71</Paragraphs>
  <Slides>8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2" baseType="lpstr">
      <vt:lpstr>Modèle par défaut</vt:lpstr>
      <vt:lpstr>1_Office Theme</vt:lpstr>
      <vt:lpstr>Conception personnalisée</vt:lpstr>
      <vt:lpstr>think-cell Slide</vt:lpstr>
      <vt:lpstr>Code Dojo – Session 3</vt:lpstr>
      <vt:lpstr>Code Dojo Some Principles</vt:lpstr>
      <vt:lpstr>Some tools (optionals) </vt:lpstr>
      <vt:lpstr>Some tips  </vt:lpstr>
      <vt:lpstr>Kata 4 : Poker Score</vt:lpstr>
      <vt:lpstr>Kata 4 : Poker Score Rules</vt:lpstr>
      <vt:lpstr>Kata 4 : Poker Score Tips</vt:lpstr>
      <vt:lpstr>Thank you and remember :</vt:lpstr>
    </vt:vector>
  </TitlesOfParts>
  <Company>betcli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de Dojo</dc:title>
  <dc:creator>m.sanglan@betclicgroup.com</dc:creator>
  <cp:lastModifiedBy>Maxime Sanglan</cp:lastModifiedBy>
  <cp:revision>115</cp:revision>
  <dcterms:created xsi:type="dcterms:W3CDTF">2012-11-21T13:06:02Z</dcterms:created>
  <dcterms:modified xsi:type="dcterms:W3CDTF">2014-03-19T10:1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626B393C06DC428FD00347AA933125</vt:lpwstr>
  </property>
</Properties>
</file>